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768" r:id="rId4"/>
    <p:sldMasterId id="2147483790" r:id="rId5"/>
    <p:sldMasterId id="2147483799" r:id="rId6"/>
    <p:sldMasterId id="2147483923" r:id="rId7"/>
  </p:sldMasterIdLst>
  <p:notesMasterIdLst>
    <p:notesMasterId r:id="rId12"/>
  </p:notesMasterIdLst>
  <p:handoutMasterIdLst>
    <p:handoutMasterId r:id="rId13"/>
  </p:handoutMasterIdLst>
  <p:sldIdLst>
    <p:sldId id="4605" r:id="rId8"/>
    <p:sldId id="2145706589" r:id="rId9"/>
    <p:sldId id="2145706588" r:id="rId10"/>
    <p:sldId id="2145706586" r:id="rId11"/>
  </p:sldIdLst>
  <p:sldSz cx="12192000" cy="6858000"/>
  <p:notesSz cx="6797675" cy="9928225"/>
  <p:embeddedFontLst>
    <p:embeddedFont>
      <p:font typeface="Futura" panose="020B0604020202020204" charset="0"/>
      <p:regular r:id="rId14"/>
      <p:bold r:id="rId15"/>
      <p:italic r:id="rId16"/>
      <p:boldItalic r:id="rId17"/>
    </p:embeddedFont>
    <p:embeddedFont>
      <p:font typeface="Futura Bold" panose="00000900000000000000" pitchFamily="2" charset="0"/>
      <p:regular r:id="rId18"/>
    </p:embeddedFont>
    <p:embeddedFont>
      <p:font typeface="Futura Medium" panose="00000400000000000000" pitchFamily="2" charset="0"/>
      <p:regular r:id="rId19"/>
      <p:bold r:id="rId20"/>
      <p:italic r:id="rId21"/>
      <p:boldItalic r:id="rId22"/>
    </p:embeddedFont>
  </p:embeddedFontLst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8" pos="3723" userDrawn="1">
          <p15:clr>
            <a:srgbClr val="A4A3A4"/>
          </p15:clr>
        </p15:guide>
        <p15:guide id="9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340" userDrawn="1">
          <p15:clr>
            <a:srgbClr val="A4A3A4"/>
          </p15:clr>
        </p15:guide>
        <p15:guide id="2" pos="2076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gie, SIMON D SPDC-FUP/OG" initials="OSDS" lastIdx="1" clrIdx="0">
    <p:extLst>
      <p:ext uri="{19B8F6BF-5375-455C-9EA6-DF929625EA0E}">
        <p15:presenceInfo xmlns:p15="http://schemas.microsoft.com/office/powerpoint/2012/main" userId="S-1-5-21-1202660629-507921405-682003330-2974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CE07"/>
    <a:srgbClr val="FDEDCC"/>
    <a:srgbClr val="003C88"/>
    <a:srgbClr val="AC8570"/>
    <a:srgbClr val="FFFFFF"/>
    <a:srgbClr val="A275A2"/>
    <a:srgbClr val="FEF6E7"/>
    <a:srgbClr val="92D050"/>
    <a:srgbClr val="D1D1D1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270" autoAdjust="0"/>
  </p:normalViewPr>
  <p:slideViewPr>
    <p:cSldViewPr snapToGrid="0" showGuides="1">
      <p:cViewPr varScale="1">
        <p:scale>
          <a:sx n="67" d="100"/>
          <a:sy n="67" d="100"/>
        </p:scale>
        <p:origin x="644" y="44"/>
      </p:cViewPr>
      <p:guideLst>
        <p:guide pos="3723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44" d="100"/>
          <a:sy n="44" d="100"/>
        </p:scale>
        <p:origin x="2784" y="52"/>
      </p:cViewPr>
      <p:guideLst>
        <p:guide orient="horz" pos="3340"/>
        <p:guide pos="2076"/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font" Target="fonts/font8.fntdata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2.fntdata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font" Target="fonts/font6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6412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6" y="2"/>
            <a:ext cx="2945659" cy="496412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01/02/2022</a:t>
            </a:fld>
            <a:endParaRPr lang="en-GB" dirty="0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30092"/>
            <a:ext cx="2945659" cy="496412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l">
              <a:defRPr sz="1200"/>
            </a:lvl1pPr>
          </a:lstStyle>
          <a:p>
            <a:r>
              <a:rPr lang="en-GB" dirty="0">
                <a:latin typeface="Futura Medium" pitchFamily="2" charset="0"/>
              </a:rPr>
              <a:t>Copyright of SPDC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6" y="9430092"/>
            <a:ext cx="2945659" cy="496412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6412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6" y="2"/>
            <a:ext cx="2945659" cy="496412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01/02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6" tIns="45718" rIns="91436" bIns="4571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9" y="4715908"/>
            <a:ext cx="5438140" cy="4467702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30092"/>
            <a:ext cx="2945659" cy="496412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r>
              <a:rPr lang="en-GB" dirty="0"/>
              <a:t>Copyright of SPDC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430092"/>
            <a:ext cx="2945659" cy="496412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Futura Medium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Futura Medium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Futura Medium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Futura Medium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1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chemeClr val="bg1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chemeClr val="tx1"/>
              </a:solidFill>
            </a:endParaRPr>
          </a:p>
        </p:txBody>
      </p:sp>
      <p:pic>
        <p:nvPicPr>
          <p:cNvPr id="18" name="Picture 17" descr="PECTEN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778013" y="3819113"/>
            <a:ext cx="6694609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aseline="0" noProof="0" dirty="0">
                <a:solidFill>
                  <a:schemeClr val="accent6"/>
                </a:solidFill>
                <a:latin typeface="+mn-lt"/>
              </a:rPr>
              <a:t>Document type | </a:t>
            </a:r>
            <a:r>
              <a:rPr lang="en-US" sz="1050" kern="1200" baseline="0" noProof="0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Date</a:t>
            </a:r>
            <a:endParaRPr lang="en-US" sz="1050" baseline="0" noProof="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778013" y="1161747"/>
            <a:ext cx="6694609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778013" y="2602008"/>
            <a:ext cx="6694609" cy="161583"/>
          </a:xfrm>
        </p:spPr>
        <p:txBody>
          <a:bodyPr>
            <a:spAutoFit/>
          </a:bodyPr>
          <a:lstStyle>
            <a:lvl1pPr algn="l">
              <a:defRPr sz="1050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1355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05426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8867" y="503239"/>
            <a:ext cx="10856384" cy="9366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68867" y="1439863"/>
            <a:ext cx="10856384" cy="5130800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187639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14"/>
          <p:cNvGrpSpPr>
            <a:grpSpLocks/>
          </p:cNvGrpSpPr>
          <p:nvPr/>
        </p:nvGrpSpPr>
        <p:grpSpPr bwMode="auto">
          <a:xfrm>
            <a:off x="624418" y="225425"/>
            <a:ext cx="10856383" cy="6167438"/>
            <a:chOff x="468313" y="226142"/>
            <a:chExt cx="8142959" cy="6167226"/>
          </a:xfrm>
        </p:grpSpPr>
        <p:sp>
          <p:nvSpPr>
            <p:cNvPr id="7" name="Rectangle 4"/>
            <p:cNvSpPr>
              <a:spLocks noChangeArrowheads="1"/>
            </p:cNvSpPr>
            <p:nvPr/>
          </p:nvSpPr>
          <p:spPr bwMode="auto">
            <a:xfrm flipH="1">
              <a:off x="468313" y="1307193"/>
              <a:ext cx="7020504" cy="508617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r>
                <a:rPr lang="en-GB" sz="1800" dirty="0"/>
                <a:t> </a:t>
              </a:r>
            </a:p>
          </p:txBody>
        </p:sp>
        <p:sp>
          <p:nvSpPr>
            <p:cNvPr id="8" name="Rectangle 4"/>
            <p:cNvSpPr>
              <a:spLocks noChangeArrowheads="1"/>
            </p:cNvSpPr>
            <p:nvPr/>
          </p:nvSpPr>
          <p:spPr bwMode="auto">
            <a:xfrm flipH="1">
              <a:off x="1547902" y="226142"/>
              <a:ext cx="7063370" cy="504014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GB" sz="1800" dirty="0"/>
            </a:p>
          </p:txBody>
        </p:sp>
        <p:sp>
          <p:nvSpPr>
            <p:cNvPr id="9" name="Rectangle 4"/>
            <p:cNvSpPr>
              <a:spLocks noChangeArrowheads="1"/>
            </p:cNvSpPr>
            <p:nvPr/>
          </p:nvSpPr>
          <p:spPr bwMode="auto">
            <a:xfrm flipH="1">
              <a:off x="1547902" y="1307193"/>
              <a:ext cx="5942502" cy="3959089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GB" sz="1800" dirty="0"/>
            </a:p>
          </p:txBody>
        </p:sp>
        <p:pic>
          <p:nvPicPr>
            <p:cNvPr id="10" name="Picture 23" descr="Shell-2010-Pecten-RGBpc.wmf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468313" y="290934"/>
              <a:ext cx="720000" cy="6678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" name="Rectangle 6" descr="Rectangle 6"/>
          <p:cNvSpPr txBox="1">
            <a:spLocks noChangeArrowheads="1"/>
          </p:cNvSpPr>
          <p:nvPr/>
        </p:nvSpPr>
        <p:spPr bwMode="auto">
          <a:xfrm>
            <a:off x="11169651" y="6470651"/>
            <a:ext cx="3556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/>
          <a:lstStyle/>
          <a:p>
            <a:pPr algn="r">
              <a:defRPr/>
            </a:pPr>
            <a:fld id="{BEE97DAD-5FDB-4B64-96B1-164D2C093834}" type="slidenum">
              <a:rPr lang="en-GB" sz="800">
                <a:cs typeface="Arial" pitchFamily="34" charset="0"/>
              </a:rPr>
              <a:pPr algn="r">
                <a:defRPr/>
              </a:pPr>
              <a:t>‹#›</a:t>
            </a:fld>
            <a:endParaRPr lang="en-GB" sz="800" dirty="0">
              <a:cs typeface="Arial" pitchFamily="34" charset="0"/>
            </a:endParaRPr>
          </a:p>
        </p:txBody>
      </p:sp>
      <p:sp>
        <p:nvSpPr>
          <p:cNvPr id="12" name="Rectangle 33"/>
          <p:cNvSpPr/>
          <p:nvPr/>
        </p:nvSpPr>
        <p:spPr>
          <a:xfrm>
            <a:off x="2264833" y="4649789"/>
            <a:ext cx="3600451" cy="5413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GB" sz="1050" dirty="0">
                <a:solidFill>
                  <a:schemeClr val="tx1"/>
                </a:solidFill>
              </a:rPr>
              <a:t>Obidike</a:t>
            </a:r>
            <a:r>
              <a:rPr lang="en-GB" sz="1050" baseline="0" dirty="0">
                <a:solidFill>
                  <a:schemeClr val="tx1"/>
                </a:solidFill>
              </a:rPr>
              <a:t> Peter</a:t>
            </a:r>
            <a:endParaRPr lang="en-GB" sz="1050" dirty="0">
              <a:solidFill>
                <a:schemeClr val="tx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63709" y="1400847"/>
            <a:ext cx="7560000" cy="1206000"/>
          </a:xfrm>
          <a:noFill/>
        </p:spPr>
        <p:txBody>
          <a:bodyPr/>
          <a:lstStyle>
            <a:lvl1pPr>
              <a:defRPr kern="1200" cap="none" spc="0" baseline="0">
                <a:solidFill>
                  <a:schemeClr val="accent2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263709" y="2851342"/>
            <a:ext cx="3600000" cy="1620000"/>
          </a:xfrm>
        </p:spPr>
        <p:txBody>
          <a:bodyPr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sz="16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0"/>
          </p:nvPr>
        </p:nvSpPr>
        <p:spPr>
          <a:xfrm>
            <a:off x="2263709" y="5357825"/>
            <a:ext cx="7680000" cy="216000"/>
          </a:xfrm>
        </p:spPr>
        <p:txBody>
          <a:bodyPr anchor="ctr"/>
          <a:lstStyle>
            <a:lvl1pPr>
              <a:buNone/>
              <a:defRPr sz="120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31"/>
          <p:cNvSpPr>
            <a:spLocks noGrp="1"/>
          </p:cNvSpPr>
          <p:nvPr>
            <p:ph type="body" sz="quarter" idx="11"/>
          </p:nvPr>
        </p:nvSpPr>
        <p:spPr>
          <a:xfrm>
            <a:off x="2263709" y="5627539"/>
            <a:ext cx="7680000" cy="216000"/>
          </a:xfrm>
        </p:spPr>
        <p:txBody>
          <a:bodyPr anchor="ctr"/>
          <a:lstStyle>
            <a:lvl1pPr>
              <a:buNone/>
              <a:defRPr sz="120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7795065" y="64055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Footer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260223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 Line Head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228600"/>
            <a:ext cx="11567584" cy="51593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  <a:latin typeface="Futura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419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392981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- 1 Line Head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0" y="228600"/>
            <a:ext cx="11567584" cy="51593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  <a:latin typeface="Futura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419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0"/>
          </p:nvPr>
        </p:nvSpPr>
        <p:spPr>
          <a:xfrm>
            <a:off x="1206500" y="1310400"/>
            <a:ext cx="10363200" cy="5071350"/>
          </a:xfrm>
        </p:spPr>
        <p:txBody>
          <a:bodyPr/>
          <a:lstStyle>
            <a:lvl1pPr marL="269875" indent="-269875">
              <a:lnSpc>
                <a:spcPct val="120000"/>
              </a:lnSpc>
              <a:buSzPct val="75000"/>
              <a:buFontTx/>
              <a:buBlip>
                <a:blip r:embed="rId2"/>
              </a:buBlip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4224125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2 Line Head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0" y="228601"/>
            <a:ext cx="11567584" cy="89376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74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0"/>
          </p:nvPr>
        </p:nvSpPr>
        <p:spPr>
          <a:xfrm>
            <a:off x="1206500" y="1310400"/>
            <a:ext cx="10363200" cy="5073312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11239500" y="6550026"/>
            <a:ext cx="355600" cy="169863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0" tIns="0" rIns="0" bIns="45720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2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17E3A2B2-37C6-4A13-8741-7899AB745B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8878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1 Line Heading and 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228600"/>
            <a:ext cx="11567584" cy="51593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  <a:latin typeface="Futura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419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593417" y="1310400"/>
            <a:ext cx="4976284" cy="5072400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1200790" y="1310400"/>
            <a:ext cx="4984751" cy="5073312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5184983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2 Line Heading and 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228601"/>
            <a:ext cx="11567584" cy="89376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74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4"/>
          <p:cNvSpPr>
            <a:spLocks noGrp="1"/>
          </p:cNvSpPr>
          <p:nvPr>
            <p:ph sz="quarter" idx="13"/>
          </p:nvPr>
        </p:nvSpPr>
        <p:spPr>
          <a:xfrm>
            <a:off x="6593417" y="1310400"/>
            <a:ext cx="4976284" cy="5072400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1200790" y="1310400"/>
            <a:ext cx="4984751" cy="5073312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8891645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8867" y="503239"/>
            <a:ext cx="10856384" cy="9366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68867" y="1439863"/>
            <a:ext cx="10856384" cy="5130800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72799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 Month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5D82AB2-D0FF-40FC-84B4-755306385B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42138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24079029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98">
          <p15:clr>
            <a:srgbClr val="FBAE40"/>
          </p15:clr>
        </p15:guide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48602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557361750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23133540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  <p15:guide id="3" orient="horz" pos="2562">
          <p15:clr>
            <a:srgbClr val="FBAE40"/>
          </p15:clr>
        </p15:guide>
        <p15:guide id="4" orient="horz" pos="299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192" b="10192"/>
          <a:stretch/>
        </p:blipFill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8402634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56293507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94417246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87563" indent="-176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738763" indent="-151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79163" indent="-140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710869366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97305843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868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86800" indent="-176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756619006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3424043977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22905836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228604"/>
            <a:ext cx="11567584" cy="516467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vert="horz" wrap="square" lIns="696387" tIns="99870" rIns="26991" bIns="0" numCol="1" anchor="t" anchorCtr="0" compatLnSpc="1">
            <a:prstTxWarp prst="textNoShape">
              <a:avLst/>
            </a:prstTxWarp>
          </a:bodyPr>
          <a:lstStyle/>
          <a:p>
            <a:pPr defTabSz="685582" eaLnBrk="0" hangingPunct="0">
              <a:lnSpc>
                <a:spcPct val="90000"/>
              </a:lnSpc>
            </a:pPr>
            <a:endParaRPr lang="en-US" sz="1837" b="1" dirty="0">
              <a:solidFill>
                <a:srgbClr val="D42E12"/>
              </a:solidFill>
              <a:latin typeface="Futura Medium" pitchFamily="18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1178" y="295202"/>
            <a:ext cx="10846173" cy="2539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624424" y="1312202"/>
            <a:ext cx="10945281" cy="1149738"/>
          </a:xfrm>
        </p:spPr>
        <p:txBody>
          <a:bodyPr/>
          <a:lstStyle>
            <a:lvl1pPr marL="0" indent="0" defTabSz="201152">
              <a:lnSpc>
                <a:spcPct val="120000"/>
              </a:lnSpc>
              <a:spcBef>
                <a:spcPts val="0"/>
              </a:spcBef>
              <a:defRPr/>
            </a:lvl1pPr>
            <a:lvl2pPr marL="203532" indent="-203532" defTabSz="201152">
              <a:lnSpc>
                <a:spcPct val="120000"/>
              </a:lnSpc>
              <a:spcBef>
                <a:spcPts val="0"/>
              </a:spcBef>
              <a:defRPr/>
            </a:lvl2pPr>
            <a:lvl3pPr marL="338030" indent="-135689" defTabSz="201152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531"/>
            </a:lvl3pPr>
            <a:lvl4pPr defTabSz="201152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224"/>
            </a:lvl4pPr>
            <a:lvl5pPr defTabSz="201152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071"/>
            </a:lvl5pPr>
            <a:lvl6pPr defTabSz="201152">
              <a:lnSpc>
                <a:spcPct val="12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7072345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3073787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5856910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5463758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0714533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Dev Away Day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418583222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3885352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5889" y="1278889"/>
            <a:ext cx="4300222" cy="4300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62081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559037740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129239316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6327509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840688258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14"/>
          <p:cNvGrpSpPr>
            <a:grpSpLocks/>
          </p:cNvGrpSpPr>
          <p:nvPr/>
        </p:nvGrpSpPr>
        <p:grpSpPr bwMode="auto">
          <a:xfrm>
            <a:off x="624418" y="225425"/>
            <a:ext cx="10856383" cy="6167438"/>
            <a:chOff x="468313" y="226142"/>
            <a:chExt cx="8142959" cy="6167226"/>
          </a:xfrm>
        </p:grpSpPr>
        <p:sp>
          <p:nvSpPr>
            <p:cNvPr id="7" name="Rectangle 4"/>
            <p:cNvSpPr>
              <a:spLocks noChangeArrowheads="1"/>
            </p:cNvSpPr>
            <p:nvPr/>
          </p:nvSpPr>
          <p:spPr bwMode="auto">
            <a:xfrm flipH="1">
              <a:off x="468313" y="1307193"/>
              <a:ext cx="7020504" cy="508617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r>
                <a:rPr lang="en-GB" sz="1800" dirty="0"/>
                <a:t> </a:t>
              </a:r>
            </a:p>
          </p:txBody>
        </p:sp>
        <p:sp>
          <p:nvSpPr>
            <p:cNvPr id="8" name="Rectangle 4"/>
            <p:cNvSpPr>
              <a:spLocks noChangeArrowheads="1"/>
            </p:cNvSpPr>
            <p:nvPr/>
          </p:nvSpPr>
          <p:spPr bwMode="auto">
            <a:xfrm flipH="1">
              <a:off x="1547902" y="226142"/>
              <a:ext cx="7063370" cy="504014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GB" sz="1800" dirty="0"/>
            </a:p>
          </p:txBody>
        </p:sp>
        <p:sp>
          <p:nvSpPr>
            <p:cNvPr id="9" name="Rectangle 4"/>
            <p:cNvSpPr>
              <a:spLocks noChangeArrowheads="1"/>
            </p:cNvSpPr>
            <p:nvPr/>
          </p:nvSpPr>
          <p:spPr bwMode="auto">
            <a:xfrm flipH="1">
              <a:off x="1547902" y="1307193"/>
              <a:ext cx="5942502" cy="3959089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GB" sz="1800" dirty="0"/>
            </a:p>
          </p:txBody>
        </p:sp>
        <p:pic>
          <p:nvPicPr>
            <p:cNvPr id="10" name="Picture 23" descr="Shell-2010-Pecten-RGBpc.wmf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468313" y="290934"/>
              <a:ext cx="720000" cy="6678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" name="Rectangle 6" descr="Rectangle 6"/>
          <p:cNvSpPr txBox="1">
            <a:spLocks noChangeArrowheads="1"/>
          </p:cNvSpPr>
          <p:nvPr/>
        </p:nvSpPr>
        <p:spPr bwMode="auto">
          <a:xfrm>
            <a:off x="11169651" y="6470651"/>
            <a:ext cx="3556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/>
          <a:lstStyle/>
          <a:p>
            <a:pPr algn="r">
              <a:defRPr/>
            </a:pPr>
            <a:fld id="{BEE97DAD-5FDB-4B64-96B1-164D2C093834}" type="slidenum">
              <a:rPr lang="en-GB" sz="800">
                <a:cs typeface="Arial" pitchFamily="34" charset="0"/>
              </a:rPr>
              <a:pPr algn="r">
                <a:defRPr/>
              </a:pPr>
              <a:t>‹#›</a:t>
            </a:fld>
            <a:endParaRPr lang="en-GB" sz="800" dirty="0">
              <a:cs typeface="Arial" pitchFamily="34" charset="0"/>
            </a:endParaRPr>
          </a:p>
        </p:txBody>
      </p:sp>
      <p:sp>
        <p:nvSpPr>
          <p:cNvPr id="12" name="Rectangle 33"/>
          <p:cNvSpPr/>
          <p:nvPr/>
        </p:nvSpPr>
        <p:spPr>
          <a:xfrm>
            <a:off x="2264833" y="4649789"/>
            <a:ext cx="3600451" cy="5413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GB" sz="1050" dirty="0">
                <a:solidFill>
                  <a:schemeClr val="tx1"/>
                </a:solidFill>
              </a:rPr>
              <a:t>Obidike</a:t>
            </a:r>
            <a:r>
              <a:rPr lang="en-GB" sz="1050" baseline="0" dirty="0">
                <a:solidFill>
                  <a:schemeClr val="tx1"/>
                </a:solidFill>
              </a:rPr>
              <a:t> Peter</a:t>
            </a:r>
            <a:endParaRPr lang="en-GB" sz="1050" dirty="0">
              <a:solidFill>
                <a:schemeClr val="tx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63709" y="1400847"/>
            <a:ext cx="7560000" cy="1206000"/>
          </a:xfrm>
          <a:noFill/>
        </p:spPr>
        <p:txBody>
          <a:bodyPr/>
          <a:lstStyle>
            <a:lvl1pPr>
              <a:defRPr kern="1200" cap="none" spc="0" baseline="0">
                <a:solidFill>
                  <a:schemeClr val="accent2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263709" y="2851342"/>
            <a:ext cx="3600000" cy="1620000"/>
          </a:xfrm>
        </p:spPr>
        <p:txBody>
          <a:bodyPr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sz="16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0"/>
          </p:nvPr>
        </p:nvSpPr>
        <p:spPr>
          <a:xfrm>
            <a:off x="2263709" y="5357825"/>
            <a:ext cx="7680000" cy="216000"/>
          </a:xfrm>
        </p:spPr>
        <p:txBody>
          <a:bodyPr anchor="ctr"/>
          <a:lstStyle>
            <a:lvl1pPr>
              <a:buNone/>
              <a:defRPr sz="120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31"/>
          <p:cNvSpPr>
            <a:spLocks noGrp="1"/>
          </p:cNvSpPr>
          <p:nvPr>
            <p:ph type="body" sz="quarter" idx="11"/>
          </p:nvPr>
        </p:nvSpPr>
        <p:spPr>
          <a:xfrm>
            <a:off x="2263709" y="5627539"/>
            <a:ext cx="7680000" cy="216000"/>
          </a:xfrm>
        </p:spPr>
        <p:txBody>
          <a:bodyPr anchor="ctr"/>
          <a:lstStyle>
            <a:lvl1pPr>
              <a:buNone/>
              <a:defRPr sz="120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7795065" y="64055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Footer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87596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75867D-4DAC-46BA-96F1-DD69F16B930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57561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4F3215-0F87-4A00-85DB-641D4D766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548444-C4DA-4AC1-81B0-CAB5D9EBAF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5B4958-31A2-4CA9-B342-F0EEE44120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7492AEA-5264-422B-956E-352EB06ECCAB}" type="slidenum">
              <a:rPr lang="en-GB" altLang="en-US"/>
              <a:pPr/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13482755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 Line Head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228600"/>
            <a:ext cx="11567584" cy="51593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  <a:latin typeface="Futura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419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00442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- 1 Line Head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0" y="228600"/>
            <a:ext cx="11567584" cy="51593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  <a:latin typeface="Futura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419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0"/>
          </p:nvPr>
        </p:nvSpPr>
        <p:spPr>
          <a:xfrm>
            <a:off x="1206500" y="1310400"/>
            <a:ext cx="10363200" cy="5071350"/>
          </a:xfrm>
        </p:spPr>
        <p:txBody>
          <a:bodyPr/>
          <a:lstStyle>
            <a:lvl1pPr marL="269875" indent="-269875">
              <a:lnSpc>
                <a:spcPct val="120000"/>
              </a:lnSpc>
              <a:buSzPct val="75000"/>
              <a:buFontTx/>
              <a:buBlip>
                <a:blip r:embed="rId2"/>
              </a:buBlip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9060675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2 Line Heading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0" y="228601"/>
            <a:ext cx="11567584" cy="89376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74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0"/>
          </p:nvPr>
        </p:nvSpPr>
        <p:spPr>
          <a:xfrm>
            <a:off x="1206500" y="1310400"/>
            <a:ext cx="10363200" cy="5073312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11239500" y="6550026"/>
            <a:ext cx="355600" cy="169863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0" tIns="0" rIns="0" bIns="45720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2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17E3A2B2-37C6-4A13-8741-7899AB745B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69468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1 Line Heading and 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228600"/>
            <a:ext cx="11567584" cy="51593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  <a:latin typeface="Futura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419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593417" y="1310400"/>
            <a:ext cx="4976284" cy="5072400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1200790" y="1310400"/>
            <a:ext cx="4984751" cy="5073312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293408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2 Line Heading and 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228601"/>
            <a:ext cx="11567584" cy="89376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49" y="295200"/>
            <a:ext cx="10267200" cy="74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4"/>
          <p:cNvSpPr>
            <a:spLocks noGrp="1"/>
          </p:cNvSpPr>
          <p:nvPr>
            <p:ph sz="quarter" idx="13"/>
          </p:nvPr>
        </p:nvSpPr>
        <p:spPr>
          <a:xfrm>
            <a:off x="6593417" y="1310400"/>
            <a:ext cx="4976284" cy="5072400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1200790" y="1310400"/>
            <a:ext cx="4984751" cy="5073312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2662536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5.emf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oleObject" Target="../embeddings/oleObject4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ags" Target="../tags/tag22.xml"/><Relationship Id="rId5" Type="http://schemas.openxmlformats.org/officeDocument/2006/relationships/slideLayout" Target="../slideLayouts/slideLayout8.xml"/><Relationship Id="rId10" Type="http://schemas.openxmlformats.org/officeDocument/2006/relationships/tags" Target="../tags/tag21.xml"/><Relationship Id="rId4" Type="http://schemas.openxmlformats.org/officeDocument/2006/relationships/slideLayout" Target="../slideLayouts/slideLayout7.xml"/><Relationship Id="rId9" Type="http://schemas.openxmlformats.org/officeDocument/2006/relationships/vmlDrawing" Target="../drawings/vmlDrawing4.vml"/><Relationship Id="rId14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24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ags" Target="../tags/tag23.x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6.png"/><Relationship Id="rId10" Type="http://schemas.openxmlformats.org/officeDocument/2006/relationships/vmlDrawing" Target="../drawings/vmlDrawing5.vml"/><Relationship Id="rId4" Type="http://schemas.openxmlformats.org/officeDocument/2006/relationships/slideLayout" Target="../slideLayouts/slideLayout14.xml"/><Relationship Id="rId9" Type="http://schemas.openxmlformats.org/officeDocument/2006/relationships/theme" Target="../theme/theme3.xml"/><Relationship Id="rId14" Type="http://schemas.openxmlformats.org/officeDocument/2006/relationships/image" Target="../media/image5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tags" Target="../tags/tag25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vmlDrawing" Target="../drawings/vmlDrawing6.v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image" Target="../media/image5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oleObject" Target="../embeddings/oleObject6.bin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tags" Target="../tags/tag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/>
            <a:endParaRPr lang="en-US" sz="6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3" y="623131"/>
            <a:ext cx="11188689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4"/>
            <a:ext cx="46647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9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3" y="993244"/>
            <a:ext cx="1118868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374721"/>
            <a:ext cx="5853024" cy="387119"/>
            <a:chOff x="915" y="791"/>
            <a:chExt cx="2686" cy="23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2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3" y="6502092"/>
            <a:ext cx="11188689" cy="270106"/>
            <a:chOff x="172517" y="5882833"/>
            <a:chExt cx="8796540" cy="270106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82833"/>
              <a:ext cx="8796540" cy="923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6675" indent="-66675">
                <a:defRPr/>
              </a:pPr>
              <a:r>
                <a:rPr lang="en-US" sz="6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60606"/>
              <a:ext cx="8252075" cy="923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260747" indent="-260747" defTabSz="671513">
                <a:tabLst>
                  <a:tab pos="259556" algn="l"/>
                </a:tabLst>
              </a:pPr>
              <a:r>
                <a:rPr lang="en-US" sz="6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600521" y="6679868"/>
            <a:ext cx="96180" cy="92333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600" smtClean="0"/>
              <a:pPr lvl="0" algn="r"/>
              <a:t>‹#›</a:t>
            </a:fld>
            <a:endParaRPr lang="en-US" sz="600" dirty="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7"/>
            <a:ext cx="600249" cy="984251"/>
            <a:chOff x="7835905" y="279400"/>
            <a:chExt cx="600249" cy="984251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350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350" baseline="0" dirty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350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350" baseline="0" dirty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908224" cy="684600"/>
            <a:chOff x="7540629" y="279400"/>
            <a:chExt cx="908224" cy="684600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350" baseline="0" dirty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350" baseline="0" dirty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350" baseline="0" dirty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666924" cy="1306516"/>
            <a:chOff x="7769225" y="250825"/>
            <a:chExt cx="666924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346249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94901" y="739934"/>
            <a:ext cx="301813" cy="120033"/>
            <a:chOff x="8438963" y="285750"/>
            <a:chExt cx="301812" cy="120033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438963" y="285750"/>
              <a:ext cx="301812" cy="1200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71513">
                <a:buClr>
                  <a:srgbClr val="002960"/>
                </a:buClr>
              </a:pPr>
              <a:r>
                <a:rPr lang="en-GB" sz="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438963" y="285750"/>
              <a:ext cx="0" cy="120033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438963" y="405783"/>
              <a:ext cx="301812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7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932187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</p:sldLayoutIdLst>
  <p:hf hdr="0" ftr="0" dt="0"/>
  <p:txStyles>
    <p:titleStyle>
      <a:lvl1pPr algn="l" defTabSz="685145" rtl="0" eaLnBrk="1" fontAlgn="base" hangingPunct="1">
        <a:spcBef>
          <a:spcPct val="0"/>
        </a:spcBef>
        <a:spcAft>
          <a:spcPct val="0"/>
        </a:spcAft>
        <a:tabLst>
          <a:tab pos="206515" algn="l"/>
        </a:tabLst>
        <a:defRPr sz="165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2pPr>
      <a:lvl3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3pPr>
      <a:lvl4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4pPr>
      <a:lvl5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5pPr>
      <a:lvl6pPr marL="349861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6pPr>
      <a:lvl7pPr marL="699722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7pPr>
      <a:lvl8pPr marL="1049582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8pPr>
      <a:lvl9pPr marL="1399444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48205" indent="-14699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349861" indent="-200441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470126" indent="-11905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9861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99722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49582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99444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49305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99165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49026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98887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 userDrawn="1">
          <p15:clr>
            <a:srgbClr val="F26B43"/>
          </p15:clr>
        </p15:guide>
        <p15:guide id="2" pos="416" userDrawn="1">
          <p15:clr>
            <a:srgbClr val="F26B43"/>
          </p15:clr>
        </p15:guide>
        <p15:guide id="3" pos="9824" userDrawn="1">
          <p15:clr>
            <a:srgbClr val="F26B43"/>
          </p15:clr>
        </p15:guide>
        <p15:guide id="4" orient="horz" pos="424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DDDD24-D678-470F-B1EF-292AE8ACF2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15097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Slide" r:id="rId12" imgW="359" imgH="358" progId="TCLayout.ActiveDocument.1">
                  <p:embed/>
                </p:oleObj>
              </mc:Choice>
              <mc:Fallback>
                <p:oleObj name="think-cell Slide" r:id="rId12" imgW="359" imgH="35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8DDDD24-D678-470F-B1EF-292AE8ACF2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180844-D8CB-4F47-BB41-F906E1D5EE25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Futura Medium" panose="00000400000000000000" pitchFamily="2" charset="0"/>
              <a:ea typeface="+mj-ea"/>
              <a:cs typeface="+mj-cs"/>
              <a:sym typeface="Futura Medium" panose="00000400000000000000" pitchFamily="2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0" y="228600"/>
            <a:ext cx="11567584" cy="51593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  <a:latin typeface="Futura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00151" y="1309688"/>
            <a:ext cx="10329333" cy="50720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51" y="295275"/>
            <a:ext cx="10267949" cy="419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4" name="Rectangle 6" descr="Rectangle 6"/>
          <p:cNvSpPr txBox="1">
            <a:spLocks noChangeArrowheads="1"/>
          </p:cNvSpPr>
          <p:nvPr/>
        </p:nvSpPr>
        <p:spPr bwMode="auto">
          <a:xfrm>
            <a:off x="11169651" y="6470651"/>
            <a:ext cx="3556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/>
          <a:lstStyle/>
          <a:p>
            <a:pPr algn="r">
              <a:defRPr/>
            </a:pPr>
            <a:fld id="{011A1EAD-6E20-4FAE-ADCB-2895346A2AD4}" type="slidenum">
              <a:rPr lang="en-GB" sz="800">
                <a:cs typeface="Arial" pitchFamily="34" charset="0"/>
              </a:rPr>
              <a:pPr algn="r">
                <a:defRPr/>
              </a:pPr>
              <a:t>‹#›</a:t>
            </a:fld>
            <a:endParaRPr lang="en-GB" sz="800" dirty="0"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7795065" y="64055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Footer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329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9pPr>
    </p:titleStyle>
    <p:bodyStyle>
      <a:lvl1pPr marL="265113" indent="-265113" algn="l" rtl="0" eaLnBrk="0" fontAlgn="base" hangingPunct="0">
        <a:lnSpc>
          <a:spcPct val="140000"/>
        </a:lnSpc>
        <a:spcBef>
          <a:spcPct val="0"/>
        </a:spcBef>
        <a:spcAft>
          <a:spcPts val="600"/>
        </a:spcAft>
        <a:buClr>
          <a:schemeClr val="accent2"/>
        </a:buClr>
        <a:buSzPct val="75000"/>
        <a:buBlip>
          <a:blip r:embed="rId1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80975" algn="l" rtl="0" eaLnBrk="0" fontAlgn="base" hangingPunct="0">
        <a:lnSpc>
          <a:spcPct val="140000"/>
        </a:lnSpc>
        <a:spcBef>
          <a:spcPct val="0"/>
        </a:spcBef>
        <a:spcAft>
          <a:spcPts val="600"/>
        </a:spcAft>
        <a:buClr>
          <a:schemeClr val="tx1"/>
        </a:buClr>
        <a:buSzPct val="75000"/>
        <a:buFont typeface="Wingdings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95350" indent="-180975" algn="l" rtl="0" eaLnBrk="0" fontAlgn="base" hangingPunct="0">
        <a:lnSpc>
          <a:spcPct val="140000"/>
        </a:lnSpc>
        <a:spcBef>
          <a:spcPct val="0"/>
        </a:spcBef>
        <a:spcAft>
          <a:spcPts val="600"/>
        </a:spcAft>
        <a:buClr>
          <a:schemeClr val="tx1"/>
        </a:buClr>
        <a:buSzPct val="75000"/>
        <a:buFont typeface="Wingdings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57300" indent="-180975" algn="l" rtl="0" eaLnBrk="0" fontAlgn="base" hangingPunct="0">
        <a:lnSpc>
          <a:spcPct val="140000"/>
        </a:lnSpc>
        <a:spcBef>
          <a:spcPct val="0"/>
        </a:spcBef>
        <a:spcAft>
          <a:spcPts val="600"/>
        </a:spcAft>
        <a:buClr>
          <a:schemeClr val="tx1"/>
        </a:buClr>
        <a:buSzPct val="75000"/>
        <a:buFont typeface="Wingdings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FDE99CD-6A25-4DD2-9C87-325EC8FB94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74506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think-cell Slide" r:id="rId13" imgW="359" imgH="358" progId="TCLayout.ActiveDocument.1">
                  <p:embed/>
                </p:oleObj>
              </mc:Choice>
              <mc:Fallback>
                <p:oleObj name="think-cell Slide" r:id="rId13" imgW="359" imgH="35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FDE99CD-6A25-4DD2-9C87-325EC8FB94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AD56304-01A8-4A2B-8A65-9996C4761108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Futura Medium" panose="00000400000000000000" pitchFamily="2" charset="0"/>
              <a:ea typeface="+mj-ea"/>
              <a:cs typeface="+mj-cs"/>
              <a:sym typeface="Futura Medium" panose="00000400000000000000" pitchFamily="2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0" y="228600"/>
            <a:ext cx="11567584" cy="51593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28800" tIns="133200" rIns="36000" bIns="0"/>
          <a:lstStyle/>
          <a:p>
            <a:pPr eaLnBrk="0" hangingPunct="0">
              <a:lnSpc>
                <a:spcPct val="90000"/>
              </a:lnSpc>
              <a:defRPr/>
            </a:pPr>
            <a:endParaRPr lang="en-US" sz="2400" b="1" dirty="0">
              <a:solidFill>
                <a:schemeClr val="tx2"/>
              </a:solidFill>
              <a:latin typeface="Futura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00151" y="1309688"/>
            <a:ext cx="10329333" cy="50720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0151" y="295275"/>
            <a:ext cx="10267949" cy="419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4" name="Rectangle 6" descr="Rectangle 6"/>
          <p:cNvSpPr txBox="1">
            <a:spLocks noChangeArrowheads="1"/>
          </p:cNvSpPr>
          <p:nvPr/>
        </p:nvSpPr>
        <p:spPr bwMode="auto">
          <a:xfrm>
            <a:off x="11169651" y="6470651"/>
            <a:ext cx="3556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/>
          <a:lstStyle/>
          <a:p>
            <a:pPr algn="r">
              <a:defRPr/>
            </a:pPr>
            <a:fld id="{011A1EAD-6E20-4FAE-ADCB-2895346A2AD4}" type="slidenum">
              <a:rPr lang="en-GB" sz="800">
                <a:cs typeface="Arial" pitchFamily="34" charset="0"/>
              </a:rPr>
              <a:pPr algn="r">
                <a:defRPr/>
              </a:pPr>
              <a:t>‹#›</a:t>
            </a:fld>
            <a:endParaRPr lang="en-GB" sz="800" dirty="0"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7795065" y="64055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Footer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7839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Futura Medium" pitchFamily="2" charset="0"/>
        </a:defRPr>
      </a:lvl9pPr>
    </p:titleStyle>
    <p:bodyStyle>
      <a:lvl1pPr marL="265113" indent="-265113" algn="l" rtl="0" eaLnBrk="0" fontAlgn="base" hangingPunct="0">
        <a:lnSpc>
          <a:spcPct val="140000"/>
        </a:lnSpc>
        <a:spcBef>
          <a:spcPct val="0"/>
        </a:spcBef>
        <a:spcAft>
          <a:spcPts val="600"/>
        </a:spcAft>
        <a:buClr>
          <a:schemeClr val="accent2"/>
        </a:buClr>
        <a:buSzPct val="75000"/>
        <a:buBlip>
          <a:blip r:embed="rId15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80975" algn="l" rtl="0" eaLnBrk="0" fontAlgn="base" hangingPunct="0">
        <a:lnSpc>
          <a:spcPct val="140000"/>
        </a:lnSpc>
        <a:spcBef>
          <a:spcPct val="0"/>
        </a:spcBef>
        <a:spcAft>
          <a:spcPts val="600"/>
        </a:spcAft>
        <a:buClr>
          <a:schemeClr val="tx1"/>
        </a:buClr>
        <a:buSzPct val="75000"/>
        <a:buFont typeface="Wingdings" pitchFamily="2" charset="2"/>
        <a:buChar char="n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95350" indent="-180975" algn="l" rtl="0" eaLnBrk="0" fontAlgn="base" hangingPunct="0">
        <a:lnSpc>
          <a:spcPct val="140000"/>
        </a:lnSpc>
        <a:spcBef>
          <a:spcPct val="0"/>
        </a:spcBef>
        <a:spcAft>
          <a:spcPts val="600"/>
        </a:spcAft>
        <a:buClr>
          <a:schemeClr val="tx1"/>
        </a:buClr>
        <a:buSzPct val="75000"/>
        <a:buFont typeface="Wingdings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57300" indent="-180975" algn="l" rtl="0" eaLnBrk="0" fontAlgn="base" hangingPunct="0">
        <a:lnSpc>
          <a:spcPct val="140000"/>
        </a:lnSpc>
        <a:spcBef>
          <a:spcPct val="0"/>
        </a:spcBef>
        <a:spcAft>
          <a:spcPts val="600"/>
        </a:spcAft>
        <a:buClr>
          <a:schemeClr val="tx1"/>
        </a:buClr>
        <a:buSzPct val="75000"/>
        <a:buFont typeface="Wingdings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B9DC997-88D5-4B95-B503-9FD6709F0B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806593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think-cell Slide" r:id="rId28" imgW="359" imgH="358" progId="TCLayout.ActiveDocument.1">
                  <p:embed/>
                </p:oleObj>
              </mc:Choice>
              <mc:Fallback>
                <p:oleObj name="think-cell Slide" r:id="rId28" imgW="359" imgH="35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B9DC997-88D5-4B95-B503-9FD6709F0B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4833565-A966-4DD5-B304-39BD846FD91C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Futura Bold" panose="00000900000000000000" pitchFamily="2" charset="0"/>
              <a:ea typeface="+mj-ea"/>
              <a:cs typeface="+mj-cs"/>
              <a:sym typeface="Futura Bold" panose="00000900000000000000" pitchFamily="2" charset="0"/>
            </a:endParaRPr>
          </a:p>
        </p:txBody>
      </p:sp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 Month 2016</a:t>
            </a:r>
            <a:endParaRPr lang="en-GB" dirty="0"/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3670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  <p:sldLayoutId id="2147483935" r:id="rId12"/>
    <p:sldLayoutId id="2147483936" r:id="rId13"/>
    <p:sldLayoutId id="2147483937" r:id="rId14"/>
    <p:sldLayoutId id="2147483938" r:id="rId15"/>
    <p:sldLayoutId id="2147483939" r:id="rId16"/>
    <p:sldLayoutId id="2147483940" r:id="rId17"/>
    <p:sldLayoutId id="2147483941" r:id="rId18"/>
    <p:sldLayoutId id="2147483942" r:id="rId19"/>
    <p:sldLayoutId id="2147483943" r:id="rId20"/>
    <p:sldLayoutId id="2147483944" r:id="rId21"/>
    <p:sldLayoutId id="2147483945" r:id="rId22"/>
    <p:sldLayoutId id="2147483946" r:id="rId23"/>
  </p:sldLayoutIdLst>
  <p:transition>
    <p:fade/>
  </p:transition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03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336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35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86400" indent="-151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963">
          <p15:clr>
            <a:srgbClr val="F26B43"/>
          </p15:clr>
        </p15:guide>
        <p15:guide id="6" orient="horz" pos="92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21">
          <p15:clr>
            <a:srgbClr val="F26B43"/>
          </p15:clr>
        </p15:guide>
        <p15:guide id="14" orient="horz" pos="42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8CC4D23-4602-41AC-BF81-12655E8BE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9545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8CC4D23-4602-41AC-BF81-12655E8BE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13C25FF-C636-4C0B-80CE-F46564D973A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Futura Bold" panose="00000900000000000000" pitchFamily="2" charset="0"/>
              <a:ea typeface="+mj-ea"/>
              <a:cs typeface="Arial" panose="020B0604020202020204" pitchFamily="34" charset="0"/>
              <a:sym typeface="Futura Bold" panose="000009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162147-7CED-46A3-BB36-3D1386745E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404040"/>
                </a:solidFill>
              </a:rPr>
              <a:t>Marine OP 21 Vessel Demand Plan Vs Budget- Transform Logistics Update Jan 2022</a:t>
            </a: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30977521-7CD7-4CC9-92B3-D2404C0074F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OP21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236797B-2D37-4A40-BCD5-55A5CCA0F9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LOGISTICS TEA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108804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A5E44-BA07-44DD-8F1F-23FE3D235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503" y="115900"/>
            <a:ext cx="11171238" cy="363525"/>
          </a:xfrm>
        </p:spPr>
        <p:txBody>
          <a:bodyPr/>
          <a:lstStyle/>
          <a:p>
            <a:pPr algn="ctr"/>
            <a:r>
              <a:rPr lang="en-US" dirty="0"/>
              <a:t>SPDC OP 21 MARINE BUDGET VS DEMAN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836327-CE52-42D6-8E8A-A9143224A5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smtClean="0"/>
              <a:pPr/>
              <a:t>2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DF52543-957E-472C-99F0-8F6252C4B1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0524" y="764232"/>
            <a:ext cx="11572875" cy="499891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9E555F8-4462-4F5E-B416-3BDA1B057940}"/>
              </a:ext>
            </a:extLst>
          </p:cNvPr>
          <p:cNvSpPr txBox="1"/>
          <p:nvPr/>
        </p:nvSpPr>
        <p:spPr bwMode="auto">
          <a:xfrm>
            <a:off x="66676" y="5865824"/>
            <a:ext cx="11982450" cy="8751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01613" indent="-201613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r>
              <a:rPr lang="en-US" sz="1400" i="1" dirty="0">
                <a:solidFill>
                  <a:srgbClr val="595959"/>
                </a:solidFill>
              </a:rPr>
              <a:t>Logistics Corporate excludes F$ 22m for HCD compliance &amp; additional F$2m for Marine Resourcing</a:t>
            </a:r>
          </a:p>
          <a:p>
            <a:pPr marL="201613" indent="-201613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r>
              <a:rPr lang="en-US" sz="1400" i="1" dirty="0">
                <a:solidFill>
                  <a:srgbClr val="595959"/>
                </a:solidFill>
              </a:rPr>
              <a:t>Overall Security Budget for Marine is F$28,  but $16m managed by logistics, with F$ 4.2m sitting in EA Marine common cost  now shown under Security marine common cost. </a:t>
            </a:r>
          </a:p>
        </p:txBody>
      </p:sp>
    </p:spTree>
    <p:extLst>
      <p:ext uri="{BB962C8B-B14F-4D97-AF65-F5344CB8AC3E}">
        <p14:creationId xmlns:p14="http://schemas.microsoft.com/office/powerpoint/2010/main" val="2947570905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A5E44-BA07-44DD-8F1F-23FE3D235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503" y="115900"/>
            <a:ext cx="11171238" cy="363525"/>
          </a:xfrm>
        </p:spPr>
        <p:txBody>
          <a:bodyPr/>
          <a:lstStyle/>
          <a:p>
            <a:pPr algn="ctr"/>
            <a:r>
              <a:rPr lang="en-US" dirty="0" err="1"/>
              <a:t>SNEPCo</a:t>
            </a:r>
            <a:r>
              <a:rPr lang="en-US" dirty="0"/>
              <a:t> OP 21 MARINE BUDGET VS DEMAN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836327-CE52-42D6-8E8A-A9143224A5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2BAE6A-B452-4007-8177-56DD051636F9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5CBAA4-33A7-46A0-B9BB-3231236B7E72}"/>
              </a:ext>
            </a:extLst>
          </p:cNvPr>
          <p:cNvSpPr txBox="1"/>
          <p:nvPr/>
        </p:nvSpPr>
        <p:spPr bwMode="auto">
          <a:xfrm>
            <a:off x="483840" y="5813699"/>
            <a:ext cx="11388222" cy="6555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01613" indent="-201613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r>
              <a:rPr lang="en-US" sz="1600" i="1" dirty="0">
                <a:solidFill>
                  <a:srgbClr val="595959"/>
                </a:solidFill>
              </a:rPr>
              <a:t>NAPIMS have been engaged and agree in principle for additional budget of F$12.45m, awaiting formal communication.</a:t>
            </a:r>
          </a:p>
          <a:p>
            <a:pPr marL="201613" indent="-201613" defTabSz="357708">
              <a:lnSpc>
                <a:spcPct val="140000"/>
              </a:lnSpc>
              <a:buClr>
                <a:schemeClr val="accent2"/>
              </a:buClr>
              <a:buSzPct val="85000"/>
              <a:buFont typeface="Wingdings" panose="05000000000000000000" pitchFamily="2" charset="2"/>
              <a:buChar char=""/>
            </a:pPr>
            <a:r>
              <a:rPr lang="en-US" sz="1600" i="1" dirty="0">
                <a:solidFill>
                  <a:srgbClr val="595959"/>
                </a:solidFill>
              </a:rPr>
              <a:t>NB: Excludes Budget held by DW Projects for Bonga TAM, Flotel, HEX Project which resides with the project team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0B9119-7CC7-4384-A739-02E757A4C2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178" y="876301"/>
            <a:ext cx="11485172" cy="4699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802398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575718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0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Xt8bmif7KuQJK1IerAl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qtxOiCReiUgoJOjWLe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pMCFsSfsfOdOfj_FcdL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bvBlo3qWdIc.OX.Zcl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11_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2.xml><?xml version="1.0" encoding="utf-8"?>
<a:theme xmlns:a="http://schemas.openxmlformats.org/drawingml/2006/main" name="Shell_Brand_2010">
  <a:themeElements>
    <a:clrScheme name="Shell - Colours">
      <a:dk1>
        <a:srgbClr val="595959"/>
      </a:dk1>
      <a:lt1>
        <a:srgbClr val="FFFFFF"/>
      </a:lt1>
      <a:dk2>
        <a:srgbClr val="999999"/>
      </a:dk2>
      <a:lt2>
        <a:srgbClr val="CCCCCC"/>
      </a:lt2>
      <a:accent1>
        <a:srgbClr val="F7D117"/>
      </a:accent1>
      <a:accent2>
        <a:srgbClr val="D42E12"/>
      </a:accent2>
      <a:accent3>
        <a:srgbClr val="003882"/>
      </a:accent3>
      <a:accent4>
        <a:srgbClr val="611759"/>
      </a:accent4>
      <a:accent5>
        <a:srgbClr val="00824A"/>
      </a:accent5>
      <a:accent6>
        <a:srgbClr val="DE8703"/>
      </a:accent6>
      <a:hlink>
        <a:srgbClr val="000000"/>
      </a:hlink>
      <a:folHlink>
        <a:srgbClr val="000000"/>
      </a:folHlink>
    </a:clrScheme>
    <a:fontScheme name="Shell - Fonts">
      <a:majorFont>
        <a:latin typeface="Futura Medium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lnSpc>
            <a:spcPts val="2100"/>
          </a:lnSpc>
          <a:spcAft>
            <a:spcPts val="1200"/>
          </a:spcAft>
          <a:defRPr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_Shell_Brand_2010">
  <a:themeElements>
    <a:clrScheme name="Shell - Colours">
      <a:dk1>
        <a:srgbClr val="595959"/>
      </a:dk1>
      <a:lt1>
        <a:srgbClr val="FFFFFF"/>
      </a:lt1>
      <a:dk2>
        <a:srgbClr val="999999"/>
      </a:dk2>
      <a:lt2>
        <a:srgbClr val="CCCCCC"/>
      </a:lt2>
      <a:accent1>
        <a:srgbClr val="F7D117"/>
      </a:accent1>
      <a:accent2>
        <a:srgbClr val="D42E12"/>
      </a:accent2>
      <a:accent3>
        <a:srgbClr val="003882"/>
      </a:accent3>
      <a:accent4>
        <a:srgbClr val="611759"/>
      </a:accent4>
      <a:accent5>
        <a:srgbClr val="00824A"/>
      </a:accent5>
      <a:accent6>
        <a:srgbClr val="DE8703"/>
      </a:accent6>
      <a:hlink>
        <a:srgbClr val="000000"/>
      </a:hlink>
      <a:folHlink>
        <a:srgbClr val="000000"/>
      </a:folHlink>
    </a:clrScheme>
    <a:fontScheme name="Shell - Fonts">
      <a:majorFont>
        <a:latin typeface="Futura Medium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lnSpc>
            <a:spcPts val="2100"/>
          </a:lnSpc>
          <a:spcAft>
            <a:spcPts val="1200"/>
          </a:spcAft>
          <a:defRPr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Shell layouts with footer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>
            <a:solidFill>
              <a:srgbClr val="595959"/>
            </a:solidFill>
          </a:defRPr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33.potx" id="{DCB8EBDD-AD61-4D12-B9D8-0A71DB1F1C72}" vid="{6D69188D-DD7E-4D0E-8AB8-46CCC4C7C1FE}"/>
    </a:ext>
  </a:extLst>
</a:theme>
</file>

<file path=ppt/theme/theme5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B18DF11575AE348A692F804E8D5204E" ma:contentTypeVersion="9" ma:contentTypeDescription="Create a new document." ma:contentTypeScope="" ma:versionID="62cca7d88454bd6678fef7da502e8417">
  <xsd:schema xmlns:xsd="http://www.w3.org/2001/XMLSchema" xmlns:xs="http://www.w3.org/2001/XMLSchema" xmlns:p="http://schemas.microsoft.com/office/2006/metadata/properties" xmlns:ns3="06b71e4e-544a-44f6-a13f-300501c44cc1" targetNamespace="http://schemas.microsoft.com/office/2006/metadata/properties" ma:root="true" ma:fieldsID="5fcc7a3062e8db484808ab9b1d13da16" ns3:_="">
    <xsd:import namespace="06b71e4e-544a-44f6-a13f-300501c44cc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b71e4e-544a-44f6-a13f-300501c44cc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9D62267-63CF-4EED-A21A-FFE42083B91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45DEEF9-8763-4B63-94B4-BD9BF3E005C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b71e4e-544a-44f6-a13f-300501c44c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7E2368C-7560-4EC8-8B77-5DE2A874A7B5}">
  <ds:schemaRefs>
    <ds:schemaRef ds:uri="http://schemas.microsoft.com/office/2006/documentManagement/types"/>
    <ds:schemaRef ds:uri="http://purl.org/dc/elements/1.1/"/>
    <ds:schemaRef ds:uri="http://purl.org/dc/dcmitype/"/>
    <ds:schemaRef ds:uri="http://purl.org/dc/terms/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06b71e4e-544a-44f6-a13f-300501c44cc1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6 Standard template</Template>
  <TotalTime>82421</TotalTime>
  <Words>126</Words>
  <Application>Microsoft Office PowerPoint</Application>
  <PresentationFormat>Widescreen</PresentationFormat>
  <Paragraphs>11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4" baseType="lpstr">
      <vt:lpstr>Arial</vt:lpstr>
      <vt:lpstr>Futura Bold</vt:lpstr>
      <vt:lpstr>Futura Medium</vt:lpstr>
      <vt:lpstr>Futura</vt:lpstr>
      <vt:lpstr>Wingdings</vt:lpstr>
      <vt:lpstr>11_Shell_CF_RDS598</vt:lpstr>
      <vt:lpstr>Shell_Brand_2010</vt:lpstr>
      <vt:lpstr>1_Shell_Brand_2010</vt:lpstr>
      <vt:lpstr>Shell layouts with footer</vt:lpstr>
      <vt:lpstr>think-cell Slide</vt:lpstr>
      <vt:lpstr>Marine OP 21 Vessel Demand Plan Vs Budget- Transform Logistics Update Jan 2022</vt:lpstr>
      <vt:lpstr>SPDC OP 21 MARINE BUDGET VS DEMAND</vt:lpstr>
      <vt:lpstr>SNEPCo OP 21 MARINE BUDGET VS DEMAND</vt:lpstr>
      <vt:lpstr>PowerPoint Presentation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presentation title  Second title line if required</dc:title>
  <dc:creator>SPDC</dc:creator>
  <cp:lastModifiedBy>Gombe, Nasiru SPDC-UPC/G/USLC</cp:lastModifiedBy>
  <cp:revision>1887</cp:revision>
  <cp:lastPrinted>2020-02-05T07:30:39Z</cp:lastPrinted>
  <dcterms:created xsi:type="dcterms:W3CDTF">2016-07-01T16:13:28Z</dcterms:created>
  <dcterms:modified xsi:type="dcterms:W3CDTF">2022-02-01T09:0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4</vt:i4>
  </property>
  <property fmtid="{D5CDD505-2E9C-101B-9397-08002B2CF9AE}" pid="4" name="ContentTypeId">
    <vt:lpwstr>0x010100DB18DF11575AE348A692F804E8D5204E</vt:lpwstr>
  </property>
  <property fmtid="{D5CDD505-2E9C-101B-9397-08002B2CF9AE}" pid="5" name="_dlc_policyId">
    <vt:lpwstr>0x0101006F0A470EEB1140E7AA14F4CE8A50B54C|1203996477</vt:lpwstr>
  </property>
  <property fmtid="{D5CDD505-2E9C-101B-9397-08002B2CF9AE}" pid="6" name="ItemRetentionFormula">
    <vt:lpwstr>&lt;formula id="Shell.SharePoint.SIS.IOTV.IOTVExpirationFormula"&gt;&lt;number&gt;1080&lt;/number&gt;&lt;property&gt;Modified&lt;/property&gt;&lt;period&gt;months&lt;/period&gt;&lt;/formula&gt;</vt:lpwstr>
  </property>
  <property fmtid="{D5CDD505-2E9C-101B-9397-08002B2CF9AE}" pid="7" name="_dlc_DocIdItemGuid">
    <vt:lpwstr>30fe05ab-69ec-4235-abf9-70ddb4c13755</vt:lpwstr>
  </property>
  <property fmtid="{D5CDD505-2E9C-101B-9397-08002B2CF9AE}" pid="8" name="Shell SharePoint SAEF SecurityClassification">
    <vt:lpwstr>8;#Restricted|21aa7f98-4035-4019-a764-107acb7269af</vt:lpwstr>
  </property>
  <property fmtid="{D5CDD505-2E9C-101B-9397-08002B2CF9AE}" pid="9" name="Shell SharePoint SAEF DocumentType">
    <vt:lpwstr>16;#Company Communications to Employees [ARM]|a944bb5e-92f7-4ba2-88cd-7c9f0edc584e</vt:lpwstr>
  </property>
  <property fmtid="{D5CDD505-2E9C-101B-9397-08002B2CF9AE}" pid="10" name="Shell SharePoint SAEF LegalEntity">
    <vt:lpwstr>4;#The Shell Petroleum Development Company Of Nigeria Limited|b482a97d-f8dd-41c8-ab1c-99b8408fd22e</vt:lpwstr>
  </property>
  <property fmtid="{D5CDD505-2E9C-101B-9397-08002B2CF9AE}" pid="11" name="Shell SharePoint SAEF BusinessUnitRegion">
    <vt:lpwstr>2;#Sub-Saharan Africa|9d13514c-804d-40ff-8e8a-f6825f62fb70</vt:lpwstr>
  </property>
  <property fmtid="{D5CDD505-2E9C-101B-9397-08002B2CF9AE}" pid="12" name="Shell SharePoint SAEF GlobalFunction">
    <vt:lpwstr>3;#Information Technology|d388b442-0f35-4ef7-bb6d-ea4386749e1a</vt:lpwstr>
  </property>
  <property fmtid="{D5CDD505-2E9C-101B-9397-08002B2CF9AE}" pid="13" name="Shell SharePoint SAEF WorkgroupID">
    <vt:lpwstr>5;#Upstream _ Single File Plan - 22022|d3ed65c1-761d-4a84-a678-924ffd6ed182</vt:lpwstr>
  </property>
  <property fmtid="{D5CDD505-2E9C-101B-9397-08002B2CF9AE}" pid="14" name="Shell SharePoint SAEF CountryOfJurisdiction">
    <vt:lpwstr>7;#NIGERIA|973e3eb3-a5f9-4712-a628-787e048af9f3</vt:lpwstr>
  </property>
  <property fmtid="{D5CDD505-2E9C-101B-9397-08002B2CF9AE}" pid="15" name="Shell SharePoint SAEF ExportControlClassification">
    <vt:lpwstr>9;#Non-US content - Non Controlled|2ac8835e-0587-4096-a6e2-1f68da1e6cb3</vt:lpwstr>
  </property>
  <property fmtid="{D5CDD505-2E9C-101B-9397-08002B2CF9AE}" pid="16" name="Shell SharePoint SAEF DocumentStatus">
    <vt:lpwstr>11;#Draft|1c86f377-7d91-4c95-bd5b-c18c83fe0aa5</vt:lpwstr>
  </property>
  <property fmtid="{D5CDD505-2E9C-101B-9397-08002B2CF9AE}" pid="17" name="Shell SharePoint SAEF Language">
    <vt:lpwstr>6;#English|bd3ad5ee-f0c3-40aa-8cc8-36ef09940af3</vt:lpwstr>
  </property>
  <property fmtid="{D5CDD505-2E9C-101B-9397-08002B2CF9AE}" pid="18" name="Shell SharePoint SAEF Business">
    <vt:lpwstr>1;#Upstream International|dabf15d9-4f75-4ed1-b8a1-a0c3e2a85888</vt:lpwstr>
  </property>
  <property fmtid="{D5CDD505-2E9C-101B-9397-08002B2CF9AE}" pid="19" name="Shell SharePoint SAEF BusinessProcess">
    <vt:lpwstr>10;#All - Records Management|1f68a0f2-47ab-4887-8df5-7c0616d5ad90</vt:lpwstr>
  </property>
</Properties>
</file>